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3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tags/tag6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546" r:id="rId2"/>
    <p:sldId id="549" r:id="rId3"/>
    <p:sldId id="610" r:id="rId4"/>
    <p:sldId id="615" r:id="rId5"/>
    <p:sldId id="616" r:id="rId6"/>
    <p:sldId id="617" r:id="rId7"/>
    <p:sldId id="618" r:id="rId8"/>
    <p:sldId id="613" r:id="rId9"/>
    <p:sldId id="614" r:id="rId10"/>
    <p:sldId id="612" r:id="rId11"/>
    <p:sldId id="606" r:id="rId12"/>
  </p:sldIdLst>
  <p:sldSz cx="9144000" cy="6858000" type="screen4x3"/>
  <p:notesSz cx="6805613" cy="9939338"/>
  <p:custDataLst>
    <p:tags r:id="rId15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5">
          <p15:clr>
            <a:srgbClr val="A4A3A4"/>
          </p15:clr>
        </p15:guide>
        <p15:guide id="2" orient="horz" pos="1000">
          <p15:clr>
            <a:srgbClr val="A4A3A4"/>
          </p15:clr>
        </p15:guide>
        <p15:guide id="3" orient="horz" pos="352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2358">
          <p15:clr>
            <a:srgbClr val="A4A3A4"/>
          </p15:clr>
        </p15:guide>
        <p15:guide id="6" orient="horz" pos="1208">
          <p15:clr>
            <a:srgbClr val="A4A3A4"/>
          </p15:clr>
        </p15:guide>
        <p15:guide id="7" orient="horz" pos="4032">
          <p15:clr>
            <a:srgbClr val="A4A3A4"/>
          </p15:clr>
        </p15:guide>
        <p15:guide id="8" orient="horz" pos="2483">
          <p15:clr>
            <a:srgbClr val="A4A3A4"/>
          </p15:clr>
        </p15:guide>
        <p15:guide id="9" pos="2775">
          <p15:clr>
            <a:srgbClr val="A4A3A4"/>
          </p15:clr>
        </p15:guide>
        <p15:guide id="10" pos="254">
          <p15:clr>
            <a:srgbClr val="A4A3A4"/>
          </p15:clr>
        </p15:guide>
        <p15:guide id="11" pos="5510">
          <p15:clr>
            <a:srgbClr val="A4A3A4"/>
          </p15:clr>
        </p15:guide>
        <p15:guide id="12" pos="3007">
          <p15:clr>
            <a:srgbClr val="A4A3A4"/>
          </p15:clr>
        </p15:guide>
        <p15:guide id="13" pos="1960">
          <p15:clr>
            <a:srgbClr val="A4A3A4"/>
          </p15:clr>
        </p15:guide>
        <p15:guide id="14" pos="2018">
          <p15:clr>
            <a:srgbClr val="A4A3A4"/>
          </p15:clr>
        </p15:guide>
        <p15:guide id="15" pos="4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orient="horz" pos="2986">
          <p15:clr>
            <a:srgbClr val="A4A3A4"/>
          </p15:clr>
        </p15:guide>
        <p15:guide id="3" pos="2143">
          <p15:clr>
            <a:srgbClr val="A4A3A4"/>
          </p15:clr>
        </p15:guide>
        <p15:guide id="4" pos="591">
          <p15:clr>
            <a:srgbClr val="A4A3A4"/>
          </p15:clr>
        </p15:guide>
        <p15:guide id="5" pos="3715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ushi Zhao" initials="Q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8EC"/>
    <a:srgbClr val="F2F2F2"/>
    <a:srgbClr val="FFFFFF"/>
    <a:srgbClr val="72327E"/>
    <a:srgbClr val="EBE9EC"/>
    <a:srgbClr val="F9EBF8"/>
    <a:srgbClr val="52225B"/>
    <a:srgbClr val="9969A1"/>
    <a:srgbClr val="74348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529" autoAdjust="0"/>
  </p:normalViewPr>
  <p:slideViewPr>
    <p:cSldViewPr showGuides="1">
      <p:cViewPr varScale="1">
        <p:scale>
          <a:sx n="92" d="100"/>
          <a:sy n="92" d="100"/>
        </p:scale>
        <p:origin x="1016" y="64"/>
      </p:cViewPr>
      <p:guideLst>
        <p:guide orient="horz" pos="3935"/>
        <p:guide orient="horz" pos="1000"/>
        <p:guide orient="horz" pos="352"/>
        <p:guide orient="horz" pos="534"/>
        <p:guide orient="horz" pos="2358"/>
        <p:guide orient="horz" pos="1208"/>
        <p:guide orient="horz" pos="4032"/>
        <p:guide orient="horz" pos="2483"/>
        <p:guide pos="2775"/>
        <p:guide pos="254"/>
        <p:guide pos="5510"/>
        <p:guide pos="3007"/>
        <p:guide pos="1960"/>
        <p:guide pos="2018"/>
        <p:guide pos="469"/>
      </p:guideLst>
    </p:cSldViewPr>
  </p:slideViewPr>
  <p:outlineViewPr>
    <p:cViewPr>
      <p:scale>
        <a:sx n="33" d="100"/>
        <a:sy n="33" d="100"/>
      </p:scale>
      <p:origin x="0" y="-5235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19482"/>
    </p:cViewPr>
  </p:sorterViewPr>
  <p:notesViewPr>
    <p:cSldViewPr showGuides="1">
      <p:cViewPr>
        <p:scale>
          <a:sx n="125" d="100"/>
          <a:sy n="125" d="100"/>
        </p:scale>
        <p:origin x="99" y="-2712"/>
      </p:cViewPr>
      <p:guideLst>
        <p:guide orient="horz" pos="3120"/>
        <p:guide orient="horz" pos="2986"/>
        <p:guide pos="2143"/>
        <p:guide pos="591"/>
        <p:guide pos="371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8B9EC-3D28-45A6-AC21-74059BD69076}" type="datetimeFigureOut">
              <a:rPr lang="zh-CN" altLang="en-US" smtClean="0"/>
              <a:t>2023/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CA50B0-25B9-4B55-85B0-2B4AC8C1F3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11" tIns="44056" rIns="88111" bIns="44056" rtlCol="0" anchor="ctr"/>
          <a:lstStyle/>
          <a:p>
            <a:pPr lvl="0"/>
            <a:endParaRPr lang="zh-CN" altLang="en-US" noProof="0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36412" y="4721229"/>
            <a:ext cx="4961368" cy="4471990"/>
          </a:xfrm>
          <a:prstGeom prst="rect">
            <a:avLst/>
          </a:prstGeom>
        </p:spPr>
        <p:txBody>
          <a:bodyPr vert="horz" lIns="88111" tIns="44056" rIns="88111" bIns="44056" rtlCol="0">
            <a:normAutofit/>
          </a:bodyPr>
          <a:lstStyle/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143" y="9440865"/>
            <a:ext cx="2948886" cy="496888"/>
          </a:xfrm>
          <a:prstGeom prst="rect">
            <a:avLst/>
          </a:prstGeom>
        </p:spPr>
        <p:txBody>
          <a:bodyPr vert="horz" lIns="88111" tIns="44056" rIns="88111" bIns="4405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DE1F79E-1E20-4699-AFF6-8003D5F55D3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Arial" panose="020B0604020202020204" pitchFamily="34" charset="0"/>
      </a:defRPr>
    </a:lvl1pPr>
    <a:lvl2pPr marL="266700" indent="-266700" algn="l" rtl="0" eaLnBrk="0" fontAlgn="base" hangingPunct="0">
      <a:spcBef>
        <a:spcPct val="30000"/>
      </a:spcBef>
      <a:spcAft>
        <a:spcPct val="0"/>
      </a:spcAft>
      <a:buSzPct val="80000"/>
      <a:buFont typeface="Wingdings" panose="05000000000000000000" pitchFamily="2" charset="2"/>
      <a:buChar char="n"/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Arial" panose="020B0604020202020204" pitchFamily="34" charset="0"/>
      </a:defRPr>
    </a:lvl2pPr>
    <a:lvl3pPr marL="542925" indent="-276225" algn="l" rtl="0" eaLnBrk="0" fontAlgn="base" hangingPunct="0">
      <a:spcBef>
        <a:spcPct val="30000"/>
      </a:spcBef>
      <a:spcAft>
        <a:spcPct val="0"/>
      </a:spcAft>
      <a:buSzPct val="80000"/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Arial" panose="020B0604020202020204" pitchFamily="34" charset="0"/>
      </a:defRPr>
    </a:lvl3pPr>
    <a:lvl4pPr marL="809625" indent="-266700" algn="l" rtl="0" eaLnBrk="0" fontAlgn="base" hangingPunct="0">
      <a:spcBef>
        <a:spcPct val="30000"/>
      </a:spcBef>
      <a:spcAft>
        <a:spcPct val="0"/>
      </a:spcAft>
      <a:buSzPct val="80000"/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Arial" panose="020B0604020202020204" pitchFamily="34" charset="0"/>
      </a:defRPr>
    </a:lvl4pPr>
    <a:lvl5pPr marL="1076325" indent="-266700" algn="l" rtl="0" eaLnBrk="0" fontAlgn="base" hangingPunct="0">
      <a:spcBef>
        <a:spcPct val="30000"/>
      </a:spcBef>
      <a:spcAft>
        <a:spcPct val="0"/>
      </a:spcAft>
      <a:buSzPct val="80000"/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E1F79E-1E20-4699-AFF6-8003D5F55D34}" type="slidenum">
              <a:rPr lang="zh-CN" altLang="en-US" smtClean="0"/>
              <a:t>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E1F79E-1E20-4699-AFF6-8003D5F55D34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Bef>
                <a:spcPts val="900"/>
              </a:spcBef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E1F79E-1E20-4699-AFF6-8003D5F55D34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488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28860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4423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092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DE1F79E-1E20-4699-AFF6-8003D5F55D34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603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2.png"/><Relationship Id="rId5" Type="http://schemas.openxmlformats.org/officeDocument/2006/relationships/tags" Target="../tags/tag2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2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png"/><Relationship Id="rId4" Type="http://schemas.openxmlformats.org/officeDocument/2006/relationships/tags" Target="../tags/tag3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>
            <p:custDataLst>
              <p:tags r:id="rId1"/>
            </p:custDataLst>
          </p:nvPr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6" name="矩形 25"/>
          <p:cNvSpPr/>
          <p:nvPr>
            <p:custDataLst>
              <p:tags r:id="rId2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algn="ctr" defTabSz="100838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120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11" name="对象 10" hidden="1"/>
          <p:cNvGraphicFramePr/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0" imgH="0" progId="">
                  <p:embed/>
                </p:oleObj>
              </mc:Choice>
              <mc:Fallback>
                <p:oleObj name="think-cell 幻灯片" r:id="rId11" imgW="0" imgH="0" progId="">
                  <p:embed/>
                  <p:pic>
                    <p:nvPicPr>
                      <p:cNvPr id="0" name="AutoShape 62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/>
          <p:cNvSpPr/>
          <p:nvPr userDrawn="1">
            <p:custDataLst>
              <p:tags r:id="rId4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6" name="Freeform 5"/>
          <p:cNvSpPr>
            <a:spLocks noEditPoints="1"/>
          </p:cNvSpPr>
          <p:nvPr userDrawn="1">
            <p:custDataLst>
              <p:tags r:id="rId5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8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9" name="Rectangle 1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  <p:custDataLst>
              <p:tags r:id="rId8"/>
            </p:custDataLst>
          </p:nvPr>
        </p:nvSpPr>
        <p:spPr bwMode="gray">
          <a:xfrm>
            <a:off x="2054564" y="1896119"/>
            <a:ext cx="6621124" cy="2533013"/>
          </a:xfrm>
        </p:spPr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 bwMode="gray">
          <a:xfrm>
            <a:off x="2051050" y="5357826"/>
            <a:ext cx="6624638" cy="428628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 dirty="0"/>
          </a:p>
        </p:txBody>
      </p:sp>
      <p:sp>
        <p:nvSpPr>
          <p:cNvPr id="14" name="Rectangle 8"/>
          <p:cNvSpPr>
            <a:spLocks noChangeArrowheads="1"/>
          </p:cNvSpPr>
          <p:nvPr userDrawn="1"/>
        </p:nvSpPr>
        <p:spPr bwMode="gray">
          <a:xfrm>
            <a:off x="-900017" y="1268760"/>
            <a:ext cx="360288" cy="2515703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txBody>
          <a:bodyPr vert="eaVert" anchor="ctr" anchorCtr="1"/>
          <a:lstStyle/>
          <a:p>
            <a:pPr algn="ctr">
              <a:spcBef>
                <a:spcPct val="75000"/>
              </a:spcBef>
            </a:pPr>
            <a:endParaRPr lang="en-US" altLang="zh-CN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475" y="-64114"/>
            <a:ext cx="1164938" cy="46813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>
            <p:custDataLst>
              <p:tags r:id="rId1"/>
            </p:custDataLst>
          </p:nvPr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3" name="矩形 12"/>
          <p:cNvSpPr/>
          <p:nvPr>
            <p:custDataLst>
              <p:tags r:id="rId2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algn="ctr" defTabSz="100838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1200" dirty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10" name="对象 9" hidden="1"/>
          <p:cNvGraphicFramePr/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0" imgH="0" progId="">
                  <p:embed/>
                </p:oleObj>
              </mc:Choice>
              <mc:Fallback>
                <p:oleObj name="think-cell 幻灯片" r:id="rId10" imgW="0" imgH="0" progId="">
                  <p:embed/>
                  <p:pic>
                    <p:nvPicPr>
                      <p:cNvPr id="0" name="AutoShape 62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/>
          <p:cNvSpPr/>
          <p:nvPr userDrawn="1">
            <p:custDataLst>
              <p:tags r:id="rId4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4" name="Freeform 5"/>
          <p:cNvSpPr>
            <a:spLocks noEditPoints="1"/>
          </p:cNvSpPr>
          <p:nvPr userDrawn="1">
            <p:custDataLst>
              <p:tags r:id="rId5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6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Rectangle 1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31" name="灯片编号占位符 2"/>
          <p:cNvSpPr>
            <a:spLocks noGrp="1"/>
          </p:cNvSpPr>
          <p:nvPr>
            <p:ph type="sldNum" sz="quarter" idx="10"/>
            <p:custDataLst>
              <p:tags r:id="rId8"/>
            </p:custDataLst>
          </p:nvPr>
        </p:nvSpPr>
        <p:spPr>
          <a:xfrm>
            <a:off x="8769350" y="6626249"/>
            <a:ext cx="373063" cy="2492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48AAB2-88A4-4FBA-B34F-8FF86D70497C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gray">
          <a:xfrm>
            <a:off x="-900017" y="1268760"/>
            <a:ext cx="360288" cy="2515703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txBody>
          <a:bodyPr vert="eaVert" anchor="ctr" anchorCtr="1"/>
          <a:lstStyle/>
          <a:p>
            <a:pPr algn="ctr">
              <a:spcBef>
                <a:spcPct val="75000"/>
              </a:spcBef>
            </a:pPr>
            <a:endParaRPr lang="en-US" altLang="zh-CN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475" y="-64114"/>
            <a:ext cx="1164938" cy="46813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 userDrawn="1"/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2" name="矩形 11"/>
          <p:cNvSpPr/>
          <p:nvPr userDrawn="1">
            <p:custDataLst>
              <p:tags r:id="rId1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algn="ctr" defTabSz="100838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120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74" name="对象 73" hidden="1"/>
          <p:cNvGraphicFramePr/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0" imgH="0" progId="">
                  <p:embed/>
                </p:oleObj>
              </mc:Choice>
              <mc:Fallback>
                <p:oleObj name="think-cell 幻灯片" r:id="rId9" imgW="0" imgH="0" progId="">
                  <p:embed/>
                  <p:pic>
                    <p:nvPicPr>
                      <p:cNvPr id="0" name="AutoShape 62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 userDrawn="1">
            <p:custDataLst>
              <p:tags r:id="rId3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2" name="Freeform 5"/>
          <p:cNvSpPr>
            <a:spLocks noEditPoints="1"/>
          </p:cNvSpPr>
          <p:nvPr userDrawn="1">
            <p:custDataLst>
              <p:tags r:id="rId4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5" name="Rectangle 1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8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9" name="灯片编号占位符 2"/>
          <p:cNvSpPr>
            <a:spLocks noGrp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8769350" y="6626249"/>
            <a:ext cx="373063" cy="2492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48AAB2-88A4-4FBA-B34F-8FF86D70497C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gray">
          <a:xfrm>
            <a:off x="-900017" y="1268760"/>
            <a:ext cx="360288" cy="2515703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txBody>
          <a:bodyPr vert="eaVert" anchor="ctr" anchorCtr="1"/>
          <a:lstStyle/>
          <a:p>
            <a:pPr algn="ctr">
              <a:spcBef>
                <a:spcPct val="75000"/>
              </a:spcBef>
            </a:pPr>
            <a:endParaRPr lang="en-US" altLang="zh-CN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475" y="-64114"/>
            <a:ext cx="1164938" cy="46813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/>
          <p:cNvGraphicFramePr/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1" imgW="0" imgH="0" progId="">
                  <p:embed/>
                </p:oleObj>
              </mc:Choice>
              <mc:Fallback>
                <p:oleObj name="think-cell 幻灯片" r:id="rId11" imgW="0" imgH="0" progId="">
                  <p:embed/>
                  <p:pic>
                    <p:nvPicPr>
                      <p:cNvPr id="0" name="AutoShape 62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 userDrawn="1">
            <p:custDataLst>
              <p:tags r:id="rId2"/>
            </p:custDataLst>
          </p:nvPr>
        </p:nvSpPr>
        <p:spPr bwMode="gray">
          <a:xfrm rot="10800000" flipH="1">
            <a:off x="0" y="0"/>
            <a:ext cx="1143000" cy="67151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 userDrawn="1">
            <p:custDataLst>
              <p:tags r:id="rId3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4" name="Freeform 5"/>
          <p:cNvSpPr>
            <a:spLocks noEditPoints="1"/>
          </p:cNvSpPr>
          <p:nvPr userDrawn="1">
            <p:custDataLst>
              <p:tags r:id="rId4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5" name="Rectangle 1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8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-1588" y="6394450"/>
            <a:ext cx="1144588" cy="45085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/>
            </a:solidFill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-9525" y="6372225"/>
            <a:ext cx="9153525" cy="650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41F1961-8914-4DD2-9FCE-F207563626E2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3" name="TextBox 12"/>
          <p:cNvSpPr txBox="1"/>
          <p:nvPr userDrawn="1">
            <p:custDataLst>
              <p:tags r:id="rId9"/>
            </p:custDataLst>
          </p:nvPr>
        </p:nvSpPr>
        <p:spPr>
          <a:xfrm>
            <a:off x="396778" y="6498364"/>
            <a:ext cx="1011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 b="1" dirty="0"/>
              <a:t>[Client Logo]</a:t>
            </a:r>
            <a:endParaRPr lang="zh-CN" altLang="en-US" sz="1050" b="1" dirty="0"/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gray">
          <a:xfrm>
            <a:off x="-900017" y="1268760"/>
            <a:ext cx="360288" cy="2515703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miter lim="800000"/>
          </a:ln>
        </p:spPr>
        <p:txBody>
          <a:bodyPr vert="eaVert" anchor="ctr" anchorCtr="1"/>
          <a:lstStyle/>
          <a:p>
            <a:pPr algn="ctr">
              <a:spcBef>
                <a:spcPct val="75000"/>
              </a:spcBef>
            </a:pPr>
            <a:endParaRPr lang="en-US" altLang="zh-CN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475" y="-64114"/>
            <a:ext cx="1164938" cy="46813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288" y="558800"/>
            <a:ext cx="8356600" cy="615315"/>
          </a:xfrm>
        </p:spPr>
        <p:txBody>
          <a:bodyPr/>
          <a:lstStyle>
            <a:lvl1pPr>
              <a:defRPr sz="1800" baseline="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660CE-E1C1-4C68-A232-1E6B7D740678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152E0E7-8184-442C-B621-84AD8B955A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/>
          <p:cNvGraphicFramePr/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6" imgW="0" imgH="0" progId="">
                  <p:embed/>
                </p:oleObj>
              </mc:Choice>
              <mc:Fallback>
                <p:oleObj name="think-cell 幻灯片" r:id="rId16" imgW="0" imgH="0" progId="">
                  <p:embed/>
                  <p:pic>
                    <p:nvPicPr>
                      <p:cNvPr id="0" name="AutoShape 63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2" name="标题占位符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95288" y="558800"/>
            <a:ext cx="8356600" cy="6080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18000" rIns="0" bIns="18000" numCol="1" anchor="t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43" name="文本占位符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395288" y="1541463"/>
            <a:ext cx="8355600" cy="46243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90800" tIns="45720" rIns="15480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4339441" y="6499249"/>
            <a:ext cx="373063" cy="249237"/>
          </a:xfrm>
          <a:prstGeom prst="rect">
            <a:avLst/>
          </a:prstGeom>
        </p:spPr>
        <p:txBody>
          <a:bodyPr vert="horz" lIns="0" tIns="18000" rIns="0" bIns="4572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152E0E7-8184-442C-B621-84AD8B955A3A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2" name="Rectangle 2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95288" y="6372906"/>
            <a:ext cx="8355600" cy="64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7" name="Rectangle 1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95288" y="363538"/>
            <a:ext cx="8355600" cy="64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8" name="Rectangle 1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95288" y="1244600"/>
            <a:ext cx="8355600" cy="4571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0000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9" name="Rectangle 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95288" y="1288241"/>
            <a:ext cx="8355600" cy="14400"/>
          </a:xfrm>
          <a:prstGeom prst="rect">
            <a:avLst/>
          </a:prstGeom>
          <a:solidFill>
            <a:srgbClr val="D7BF8B"/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120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540865"/>
            <a:ext cx="1452970" cy="58387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1pPr>
      <a:lvl2pPr marL="228600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n"/>
        <a:defRPr sz="1300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2pPr>
      <a:lvl3pPr marL="495300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3pPr>
      <a:lvl4pPr marL="752475" indent="-219075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4pPr>
      <a:lvl5pPr marL="1038225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Arial" panose="020B0604020202020204" pitchFamily="34" charset="0"/>
          <a:ea typeface="宋体" panose="02010600030101010101" pitchFamily="2" charset="-122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3.emf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3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3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/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">
                  <p:embed/>
                </p:oleObj>
              </mc:Choice>
              <mc:Fallback>
                <p:oleObj name="think-cell 幻灯片" r:id="rId4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标题 1"/>
          <p:cNvSpPr txBox="1"/>
          <p:nvPr/>
        </p:nvSpPr>
        <p:spPr bwMode="gray">
          <a:xfrm>
            <a:off x="2176450" y="5600700"/>
            <a:ext cx="6161113" cy="5651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18000" rIns="0" bIns="18000" numCol="1" anchor="t" anchorCtr="0" compatLnSpc="1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Arial" panose="020B0604020202020204" pitchFamily="34" charset="0"/>
                <a:sym typeface="Times New Roman" panose="02020603050405020304" pitchFamily="18" charset="0"/>
              </a:rPr>
              <a:t>2023.1.19</a:t>
            </a:r>
            <a:endParaRPr kumimoji="0" lang="zh-CN" altLang="en-US" sz="1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18" name="Rectangle 27"/>
          <p:cNvSpPr>
            <a:spLocks noChangeArrowheads="1"/>
          </p:cNvSpPr>
          <p:nvPr/>
        </p:nvSpPr>
        <p:spPr bwMode="gray">
          <a:xfrm>
            <a:off x="1636004" y="6622784"/>
            <a:ext cx="1144588" cy="144462"/>
          </a:xfrm>
          <a:prstGeom prst="rect">
            <a:avLst/>
          </a:prstGeom>
          <a:solidFill>
            <a:schemeClr val="bg1"/>
          </a:solidFill>
          <a:ln w="1587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ctrTitle"/>
          </p:nvPr>
        </p:nvSpPr>
        <p:spPr>
          <a:xfrm>
            <a:off x="1691680" y="2420888"/>
            <a:ext cx="6986437" cy="642943"/>
          </a:xfrm>
        </p:spPr>
        <p:txBody>
          <a:bodyPr anchor="b" anchorCtr="0"/>
          <a:lstStyle/>
          <a:p>
            <a:pPr algn="ctr" eaLnBrk="1" hangingPunct="1"/>
            <a:r>
              <a:rPr lang="zh-CN" altLang="en-US" sz="24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做市商对市场效率的影响</a:t>
            </a:r>
            <a:br>
              <a:rPr lang="en-US" altLang="zh-CN" sz="2400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r>
              <a:rPr lang="en-US" altLang="zh-CN" sz="24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-</a:t>
            </a:r>
            <a:r>
              <a:rPr lang="zh-CN" altLang="en-US" sz="24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基于创业板、科创板和新三板的数据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644008" y="4725144"/>
            <a:ext cx="4110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何婧 </a:t>
            </a:r>
            <a:r>
              <a:rPr kumimoji="1"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2021211316</a:t>
            </a:r>
            <a:endParaRPr kumimoji="1" lang="zh-CN" altLang="en-US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7772400" imgH="10058400" progId="">
                  <p:embed/>
                </p:oleObj>
              </mc:Choice>
              <mc:Fallback>
                <p:oleObj name="think-cell 幻灯片" r:id="rId4" imgW="7772400" imgH="10058400" progId="">
                  <p:embed/>
                  <p:pic>
                    <p:nvPicPr>
                      <p:cNvPr id="0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9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559469"/>
            <a:ext cx="8356600" cy="577545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4.Day Day Cook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US" altLang="zh-CN" b="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——</a:t>
            </a:r>
            <a:r>
              <a:rPr lang="en-US" altLang="zh-CN" dirty="0">
                <a:latin typeface="Times New Roman" panose="02020603050405020304" pitchFamily="18" charset="0"/>
                <a:sym typeface="+mn-ea"/>
              </a:rPr>
              <a:t>Some other terms to be negotiated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– 2016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A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轮 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US $5M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endParaRPr lang="zh-CN" altLang="en-US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395286" y="134107"/>
            <a:ext cx="8352938" cy="204918"/>
            <a:chOff x="395287" y="134107"/>
            <a:chExt cx="7454664" cy="204918"/>
          </a:xfrm>
        </p:grpSpPr>
        <p:sp>
          <p:nvSpPr>
            <p:cNvPr id="10" name="燕尾形 21"/>
            <p:cNvSpPr/>
            <p:nvPr/>
          </p:nvSpPr>
          <p:spPr>
            <a:xfrm>
              <a:off x="395287" y="134107"/>
              <a:ext cx="1944215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 </a:t>
              </a:r>
              <a:r>
                <a:rPr lang="en-US" altLang="zh-CN" sz="1200" b="1" dirty="0" err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</a:t>
              </a:r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 Cook</a:t>
              </a:r>
            </a:p>
          </p:txBody>
        </p:sp>
        <p:sp>
          <p:nvSpPr>
            <p:cNvPr id="11" name="燕尾形 23"/>
            <p:cNvSpPr/>
            <p:nvPr/>
          </p:nvSpPr>
          <p:spPr>
            <a:xfrm>
              <a:off x="2323437" y="134107"/>
              <a:ext cx="1927714" cy="197999"/>
            </a:xfrm>
            <a:prstGeom prst="chevron">
              <a:avLst/>
            </a:prstGeom>
            <a:solidFill>
              <a:srgbClr val="72327E"/>
            </a:solidFill>
            <a:ln>
              <a:solidFill>
                <a:srgbClr val="7232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燕尾形 24"/>
            <p:cNvSpPr/>
            <p:nvPr/>
          </p:nvSpPr>
          <p:spPr>
            <a:xfrm>
              <a:off x="4299618" y="134107"/>
              <a:ext cx="1606428" cy="197999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3" name="燕尾形 25"/>
            <p:cNvSpPr/>
            <p:nvPr/>
          </p:nvSpPr>
          <p:spPr>
            <a:xfrm>
              <a:off x="5922237" y="134107"/>
              <a:ext cx="1927714" cy="204019"/>
            </a:xfrm>
            <a:prstGeom prst="chevron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6" name="矩形 5"/>
          <p:cNvSpPr/>
          <p:nvPr/>
        </p:nvSpPr>
        <p:spPr>
          <a:xfrm>
            <a:off x="404495" y="2704465"/>
            <a:ext cx="2718435" cy="3056255"/>
          </a:xfrm>
          <a:prstGeom prst="rect">
            <a:avLst/>
          </a:prstGeom>
          <a:ln w="28575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tIns="107950" rtlCol="0" anchor="t" anchorCtr="0"/>
          <a:lstStyle/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</a:rPr>
              <a:t>风险</a:t>
            </a:r>
            <a:r>
              <a:rPr lang="zh-CN" altLang="en-US" b="1"/>
              <a:t>：</a:t>
            </a:r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/>
              <a:t>      </a:t>
            </a:r>
            <a:r>
              <a:rPr lang="zh-CN" altLang="en-US" sz="1400"/>
              <a:t>公司在尽调期间与其他投资方接触，借此压低估值；或者与其他投资方另行达成一致，浪费本方投资者的时间、精力</a:t>
            </a:r>
          </a:p>
          <a:p>
            <a:pPr marL="0" indent="0" algn="l">
              <a:buClr>
                <a:srgbClr val="9969A1"/>
              </a:buClr>
              <a:buFont typeface="Wingdings" panose="05000000000000000000" charset="0"/>
              <a:buNone/>
            </a:pPr>
            <a:endParaRPr lang="zh-CN" altLang="en-US" sz="900"/>
          </a:p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/>
              <a:t>条款诉求：</a:t>
            </a:r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/>
              <a:t>      </a:t>
            </a:r>
            <a:r>
              <a:rPr lang="zh-CN" altLang="en-US" sz="1400"/>
              <a:t>自投资意向协议签署</a:t>
            </a:r>
            <a:r>
              <a:rPr lang="en-US" altLang="zh-CN" sz="1400"/>
              <a:t>14</a:t>
            </a:r>
            <a:r>
              <a:rPr lang="zh-CN" altLang="en-US" sz="1400"/>
              <a:t>天内，被投公司不得与其他投资方接触</a:t>
            </a:r>
          </a:p>
        </p:txBody>
      </p:sp>
      <p:sp>
        <p:nvSpPr>
          <p:cNvPr id="7" name="矩形 6"/>
          <p:cNvSpPr/>
          <p:nvPr/>
        </p:nvSpPr>
        <p:spPr>
          <a:xfrm>
            <a:off x="3430905" y="2705735"/>
            <a:ext cx="2686685" cy="3054985"/>
          </a:xfrm>
          <a:prstGeom prst="rect">
            <a:avLst/>
          </a:prstGeom>
          <a:ln w="28575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tIns="107950" rtlCol="0" anchor="t" anchorCtr="0"/>
          <a:lstStyle/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风险</a:t>
            </a:r>
            <a:r>
              <a:rPr lang="zh-CN" altLang="en-US" sz="1400" b="1">
                <a:sym typeface="+mn-ea"/>
              </a:rPr>
              <a:t>：</a:t>
            </a:r>
            <a:endParaRPr lang="zh-CN" altLang="en-US" sz="1400" b="1"/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>
                <a:sym typeface="+mn-ea"/>
              </a:rPr>
              <a:t>     </a:t>
            </a:r>
            <a:r>
              <a:rPr lang="zh-CN" altLang="en-US" sz="1400">
                <a:sym typeface="+mn-ea"/>
              </a:rPr>
              <a:t> 初创企业流动性较差，投资方作为小股东面临风险时，不如大股东有更强的议价和退出能力</a:t>
            </a:r>
            <a:endParaRPr lang="zh-CN" altLang="en-US" sz="1400"/>
          </a:p>
          <a:p>
            <a:pPr marL="0" indent="0" algn="l">
              <a:buClr>
                <a:srgbClr val="9969A1"/>
              </a:buClr>
              <a:buFont typeface="Wingdings" panose="05000000000000000000" charset="0"/>
              <a:buNone/>
            </a:pPr>
            <a:endParaRPr lang="zh-CN" altLang="en-US" sz="900"/>
          </a:p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>
                <a:sym typeface="+mn-ea"/>
              </a:rPr>
              <a:t>条款诉求：</a:t>
            </a:r>
            <a:endParaRPr lang="zh-CN" altLang="en-US" sz="1400" b="1"/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>
                <a:sym typeface="+mn-ea"/>
              </a:rPr>
              <a:t>      </a:t>
            </a:r>
            <a:r>
              <a:rPr lang="zh-CN" altLang="en-US" sz="1400">
                <a:sym typeface="+mn-ea"/>
              </a:rPr>
              <a:t>当大股东寻求股权售卖给第三方时，本投资方有权要求以相同方式将持有股权售出给第三方</a:t>
            </a:r>
          </a:p>
        </p:txBody>
      </p:sp>
      <p:sp>
        <p:nvSpPr>
          <p:cNvPr id="8" name="矩形 7"/>
          <p:cNvSpPr/>
          <p:nvPr/>
        </p:nvSpPr>
        <p:spPr>
          <a:xfrm>
            <a:off x="6372225" y="2705100"/>
            <a:ext cx="2686685" cy="3055620"/>
          </a:xfrm>
          <a:prstGeom prst="rect">
            <a:avLst/>
          </a:prstGeom>
          <a:ln w="28575" cmpd="sng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tIns="107950" rtlCol="0" anchor="t" anchorCtr="0"/>
          <a:lstStyle/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>
                <a:latin typeface="楷体" panose="02010609060101010101" pitchFamily="49" charset="-122"/>
                <a:ea typeface="楷体" panose="02010609060101010101" pitchFamily="49" charset="-122"/>
                <a:sym typeface="+mn-ea"/>
              </a:rPr>
              <a:t>风险</a:t>
            </a:r>
            <a:r>
              <a:rPr lang="zh-CN" altLang="en-US" sz="1400" b="1">
                <a:sym typeface="+mn-ea"/>
              </a:rPr>
              <a:t>：</a:t>
            </a:r>
            <a:endParaRPr lang="zh-CN" altLang="en-US" sz="1400" b="1"/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>
                <a:sym typeface="+mn-ea"/>
              </a:rPr>
              <a:t>      </a:t>
            </a:r>
            <a:r>
              <a:rPr lang="zh-CN" altLang="en-US" sz="1400">
                <a:sym typeface="+mn-ea"/>
              </a:rPr>
              <a:t>公司原有持股股东售出股权时，可能会引入不利于本投资方的其他投资者</a:t>
            </a:r>
            <a:endParaRPr lang="zh-CN" altLang="en-US" sz="1400"/>
          </a:p>
          <a:p>
            <a:pPr marL="0" indent="0" algn="l">
              <a:buClr>
                <a:srgbClr val="9969A1"/>
              </a:buClr>
              <a:buFont typeface="Wingdings" panose="05000000000000000000" charset="0"/>
              <a:buNone/>
            </a:pPr>
            <a:endParaRPr lang="zh-CN" altLang="en-US" sz="1400"/>
          </a:p>
          <a:p>
            <a:pPr marL="285750" indent="-285750" algn="l">
              <a:buClr>
                <a:srgbClr val="9969A1"/>
              </a:buClr>
              <a:buFont typeface="Wingdings" panose="05000000000000000000" charset="0"/>
              <a:buChar char="p"/>
            </a:pPr>
            <a:r>
              <a:rPr lang="zh-CN" altLang="en-US" sz="1400" b="1">
                <a:sym typeface="+mn-ea"/>
              </a:rPr>
              <a:t>条款诉求：</a:t>
            </a:r>
            <a:endParaRPr lang="zh-CN" altLang="en-US" sz="1400" b="1"/>
          </a:p>
          <a:p>
            <a:pPr marL="0" indent="0" algn="l" eaLnBrk="1" latinLnBrk="0" hangingPunct="1">
              <a:lnSpc>
                <a:spcPct val="150000"/>
              </a:lnSpc>
              <a:buClr>
                <a:srgbClr val="9969A1"/>
              </a:buClr>
              <a:buFont typeface="Wingdings" panose="05000000000000000000" charset="0"/>
              <a:buNone/>
            </a:pPr>
            <a:r>
              <a:rPr lang="en-US" altLang="zh-CN" sz="1400">
                <a:sym typeface="+mn-ea"/>
              </a:rPr>
              <a:t>      </a:t>
            </a:r>
            <a:r>
              <a:rPr lang="zh-CN" altLang="en-US" sz="1400">
                <a:sym typeface="+mn-ea"/>
              </a:rPr>
              <a:t>公司原有持股者出售股权时，本投资方优先知悉，并有权在</a:t>
            </a:r>
            <a:r>
              <a:rPr lang="en-US" altLang="zh-CN" sz="140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30</a:t>
            </a:r>
            <a:r>
              <a:rPr lang="zh-CN" altLang="en-US" sz="140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天内认购其所出售的股权</a:t>
            </a:r>
          </a:p>
        </p:txBody>
      </p:sp>
      <p:sp>
        <p:nvSpPr>
          <p:cNvPr id="14" name="矩形 13"/>
          <p:cNvSpPr/>
          <p:nvPr/>
        </p:nvSpPr>
        <p:spPr>
          <a:xfrm>
            <a:off x="394970" y="1990725"/>
            <a:ext cx="2717165" cy="332105"/>
          </a:xfrm>
          <a:prstGeom prst="rect">
            <a:avLst/>
          </a:prstGeom>
          <a:solidFill>
            <a:srgbClr val="EBE8EC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Exclusivity period</a:t>
            </a:r>
          </a:p>
        </p:txBody>
      </p:sp>
      <p:sp>
        <p:nvSpPr>
          <p:cNvPr id="15" name="矩形 14"/>
          <p:cNvSpPr/>
          <p:nvPr/>
        </p:nvSpPr>
        <p:spPr>
          <a:xfrm>
            <a:off x="3430905" y="1990725"/>
            <a:ext cx="2686685" cy="332105"/>
          </a:xfrm>
          <a:prstGeom prst="rect">
            <a:avLst/>
          </a:prstGeom>
          <a:solidFill>
            <a:srgbClr val="EBE8EC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solidFill>
                  <a:schemeClr val="tx1"/>
                </a:solidFill>
              </a:rPr>
              <a:t>Tag-along rights</a:t>
            </a:r>
          </a:p>
        </p:txBody>
      </p:sp>
      <p:sp>
        <p:nvSpPr>
          <p:cNvPr id="16" name="矩形 15"/>
          <p:cNvSpPr/>
          <p:nvPr/>
        </p:nvSpPr>
        <p:spPr>
          <a:xfrm>
            <a:off x="6379210" y="1990725"/>
            <a:ext cx="2686685" cy="332105"/>
          </a:xfrm>
          <a:prstGeom prst="rect">
            <a:avLst/>
          </a:prstGeom>
          <a:solidFill>
            <a:srgbClr val="EBE8EC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>
                <a:solidFill>
                  <a:schemeClr val="tx1"/>
                </a:solidFill>
              </a:rPr>
              <a:t>Prior to any Liquidity Event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04495" y="1376680"/>
            <a:ext cx="1764665" cy="38608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600" b="1" dirty="0">
                <a:solidFill>
                  <a:srgbClr val="000000"/>
                </a:solidFill>
                <a:latin typeface="+mj-lt"/>
                <a:ea typeface="楷体" panose="02010609060101010101" pitchFamily="49" charset="-122"/>
                <a:cs typeface="+mj-lt"/>
                <a:sym typeface="Times New Roman" panose="02020603050405020304" pitchFamily="18" charset="0"/>
              </a:rPr>
              <a:t>Term Sheet</a:t>
            </a:r>
            <a:r>
              <a:rPr lang="zh-CN" altLang="en-US" sz="1600" b="1" dirty="0">
                <a:solidFill>
                  <a:srgbClr val="000000"/>
                </a:solidFill>
                <a:latin typeface="+mj-lt"/>
                <a:ea typeface="楷体" panose="02010609060101010101" pitchFamily="49" charset="-122"/>
                <a:cs typeface="+mj-lt"/>
                <a:sym typeface="Times New Roman" panose="02020603050405020304" pitchFamily="18" charset="0"/>
              </a:rPr>
              <a:t>：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/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">
                  <p:embed/>
                </p:oleObj>
              </mc:Choice>
              <mc:Fallback>
                <p:oleObj name="think-cell 幻灯片" r:id="rId4" imgW="0" imgH="0" progId="">
                  <p:embed/>
                  <p:pic>
                    <p:nvPicPr>
                      <p:cNvPr id="0" name="对象 37" hidden="1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7"/>
          <p:cNvSpPr>
            <a:spLocks noChangeArrowheads="1"/>
          </p:cNvSpPr>
          <p:nvPr/>
        </p:nvSpPr>
        <p:spPr bwMode="gray">
          <a:xfrm>
            <a:off x="1636004" y="6622784"/>
            <a:ext cx="1144588" cy="144462"/>
          </a:xfrm>
          <a:prstGeom prst="rect">
            <a:avLst/>
          </a:prstGeom>
          <a:solidFill>
            <a:schemeClr val="bg1"/>
          </a:solidFill>
          <a:ln w="15875">
            <a:noFill/>
            <a:miter lim="800000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0" name="标题 1"/>
          <p:cNvSpPr txBox="1"/>
          <p:nvPr/>
        </p:nvSpPr>
        <p:spPr>
          <a:xfrm>
            <a:off x="1691680" y="2181233"/>
            <a:ext cx="6405563" cy="1760530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zh-CN" sz="5400" dirty="0"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rPr>
              <a:t>Thank you </a:t>
            </a:r>
            <a:endParaRPr lang="zh-CN" altLang="en-US" sz="5000" dirty="0">
              <a:latin typeface="Times New Roman" panose="02020603050405020304" pitchFamily="18" charset="0"/>
              <a:ea typeface="宋体" panose="02010600030101010101" pitchFamily="2" charset="-122"/>
              <a:sym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圆角矩形 9"/>
          <p:cNvSpPr>
            <a:spLocks noChangeArrowheads="1"/>
          </p:cNvSpPr>
          <p:nvPr/>
        </p:nvSpPr>
        <p:spPr bwMode="gray">
          <a:xfrm>
            <a:off x="2051050" y="2204864"/>
            <a:ext cx="6624638" cy="2592388"/>
          </a:xfrm>
          <a:prstGeom prst="roundRect">
            <a:avLst>
              <a:gd name="adj" fmla="val 981"/>
            </a:avLst>
          </a:prstGeom>
          <a:noFill/>
          <a:ln w="12700" algn="ctr">
            <a:noFill/>
            <a:round/>
          </a:ln>
          <a:effectLst>
            <a:prstShdw prst="shdw17" dist="17961" dir="2700000">
              <a:srgbClr val="858585"/>
            </a:prstShdw>
          </a:effectLst>
        </p:spPr>
        <p:txBody>
          <a:bodyPr/>
          <a:lstStyle/>
          <a:p>
            <a:pPr marL="802005" indent="-802005">
              <a:lnSpc>
                <a:spcPct val="200000"/>
              </a:lnSpc>
              <a:buAutoNum type="arabicPeriod"/>
              <a:tabLst>
                <a:tab pos="6367145" algn="r"/>
              </a:tabLst>
            </a:pP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研究背景</a:t>
            </a:r>
            <a:endParaRPr lang="en-US" altLang="zh-CN" sz="1600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802005" indent="-802005">
              <a:lnSpc>
                <a:spcPct val="200000"/>
              </a:lnSpc>
              <a:buAutoNum type="arabicPeriod"/>
              <a:tabLst>
                <a:tab pos="6367145" algn="r"/>
              </a:tabLst>
            </a:pP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文献综述</a:t>
            </a:r>
            <a:endParaRPr lang="en-US" altLang="zh-CN" sz="1600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802005" indent="-802005">
              <a:lnSpc>
                <a:spcPct val="200000"/>
              </a:lnSpc>
              <a:buAutoNum type="arabicPeriod"/>
              <a:tabLst>
                <a:tab pos="6367145" algn="r"/>
              </a:tabLst>
            </a:pP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理论分析</a:t>
            </a:r>
            <a:endParaRPr lang="en-US" altLang="zh-CN" sz="1600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802005" indent="-802005">
              <a:lnSpc>
                <a:spcPct val="200000"/>
              </a:lnSpc>
              <a:buAutoNum type="arabicPeriod"/>
              <a:tabLst>
                <a:tab pos="6367145" algn="r"/>
              </a:tabLst>
            </a:pP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实证分析</a:t>
            </a:r>
            <a:endParaRPr lang="en-US" altLang="zh-CN" sz="1600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802005" indent="-802005">
              <a:lnSpc>
                <a:spcPct val="200000"/>
              </a:lnSpc>
              <a:buAutoNum type="arabicPeriod"/>
              <a:tabLst>
                <a:tab pos="6367145" algn="r"/>
              </a:tabLst>
            </a:pP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结论与展望</a:t>
            </a:r>
            <a:endParaRPr lang="en-US" altLang="zh-CN" sz="1600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" name="圆角矩形 9"/>
          <p:cNvSpPr>
            <a:spLocks noChangeArrowheads="1"/>
          </p:cNvSpPr>
          <p:nvPr/>
        </p:nvSpPr>
        <p:spPr bwMode="gray">
          <a:xfrm>
            <a:off x="2051050" y="908050"/>
            <a:ext cx="6700838" cy="49847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algn="ctr">
            <a:solidFill>
              <a:schemeClr val="accent1"/>
            </a:solidFill>
            <a:round/>
          </a:ln>
          <a:effectLst/>
        </p:spPr>
        <p:txBody>
          <a:bodyPr anchor="ctr" anchorCtr="1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目录</a:t>
            </a:r>
            <a:endParaRPr lang="zh-CN" altLang="en-US" b="1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48AAB2-88A4-4FBA-B34F-8FF86D70497C}" type="slidenum">
              <a:rPr lang="zh-CN" altLang="en-US" smtClean="0">
                <a:latin typeface="Times New Roman" panose="02020603050405020304" pitchFamily="18" charset="0"/>
                <a:sym typeface="Times New Roman" panose="02020603050405020304" pitchFamily="18" charset="0"/>
              </a:rPr>
              <a:t>1</a:t>
            </a:fld>
            <a:endParaRPr lang="zh-CN" altLang="en-US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7772400" imgH="10058400" progId="">
                  <p:embed/>
                </p:oleObj>
              </mc:Choice>
              <mc:Fallback>
                <p:oleObj name="think-cell 幻灯片" r:id="rId6" imgW="7772400" imgH="10058400" progId="">
                  <p:embed/>
                  <p:pic>
                    <p:nvPicPr>
                      <p:cNvPr id="0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836712"/>
            <a:ext cx="8356600" cy="300302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.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研究背景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67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历史融资信息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4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信智资本天使；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5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月戈壁创投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re-A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本轮为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A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轮融资，卖方要求融资金额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5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出让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5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投后估值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20M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S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打分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和小红书、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站等平台的竞争力有待确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在平台扩张以及与其他平台竞争中，内容质量维持有一定困难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酱料和速食品类变现风险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折价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购买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: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aphicFrame>
        <p:nvGraphicFramePr>
          <p:cNvPr id="2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90563" y="2341528"/>
          <a:ext cx="7560841" cy="78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050" dirty="0"/>
                        <a:t>Business (Market and Product) Attractiveness</a:t>
                      </a:r>
                      <a:endParaRPr lang="zh-CN" alt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t Potenti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agement Strength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rmalised</a:t>
                      </a:r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SM Risk Factor (β)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justed Cost of Capit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RR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fit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7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45552" y="4941009"/>
          <a:ext cx="7498856" cy="11774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9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curities to be Issued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f Preferred Stock of the Company (the “Preferred”).</a:t>
                      </a:r>
                      <a:endParaRPr lang="zh-CN" sz="1050" b="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ggregate Proceed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5,000,000_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 in aggregate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stor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redited investors approved by the Company (the “Investors”).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 (the “Original Issue Price”), based on a pre-money valuation of 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0,00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, including an available option pool of 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%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FC4DC1A2-24EE-3931-5834-4A78024C580B}"/>
              </a:ext>
            </a:extLst>
          </p:cNvPr>
          <p:cNvGrpSpPr/>
          <p:nvPr/>
        </p:nvGrpSpPr>
        <p:grpSpPr>
          <a:xfrm>
            <a:off x="395287" y="127189"/>
            <a:ext cx="8353426" cy="205468"/>
            <a:chOff x="395286" y="127188"/>
            <a:chExt cx="10513612" cy="211837"/>
          </a:xfrm>
        </p:grpSpPr>
        <p:grpSp>
          <p:nvGrpSpPr>
            <p:cNvPr id="9" name="组合 8"/>
            <p:cNvGrpSpPr/>
            <p:nvPr/>
          </p:nvGrpSpPr>
          <p:grpSpPr>
            <a:xfrm>
              <a:off x="395286" y="134107"/>
              <a:ext cx="8352938" cy="204918"/>
              <a:chOff x="395287" y="134107"/>
              <a:chExt cx="7454664" cy="204918"/>
            </a:xfrm>
          </p:grpSpPr>
          <p:sp>
            <p:nvSpPr>
              <p:cNvPr id="10" name="燕尾形 21"/>
              <p:cNvSpPr/>
              <p:nvPr/>
            </p:nvSpPr>
            <p:spPr>
              <a:xfrm>
                <a:off x="395287" y="134107"/>
                <a:ext cx="1944215" cy="204918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sym typeface="Times New Roman" panose="02020603050405020304" pitchFamily="18" charset="0"/>
                  </a:rPr>
                  <a:t>研究背景</a:t>
                </a:r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1" name="燕尾形 23"/>
              <p:cNvSpPr/>
              <p:nvPr/>
            </p:nvSpPr>
            <p:spPr>
              <a:xfrm>
                <a:off x="2323437" y="134107"/>
                <a:ext cx="1927714" cy="197999"/>
              </a:xfrm>
              <a:prstGeom prst="chevron">
                <a:avLst/>
              </a:prstGeom>
              <a:solidFill>
                <a:srgbClr val="72327E"/>
              </a:solidFill>
              <a:ln>
                <a:solidFill>
                  <a:srgbClr val="7232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2" name="燕尾形 24"/>
              <p:cNvSpPr/>
              <p:nvPr/>
            </p:nvSpPr>
            <p:spPr>
              <a:xfrm>
                <a:off x="4299618" y="134107"/>
                <a:ext cx="1606428" cy="197999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3" name="燕尾形 25"/>
              <p:cNvSpPr/>
              <p:nvPr/>
            </p:nvSpPr>
            <p:spPr>
              <a:xfrm>
                <a:off x="5922237" y="134107"/>
                <a:ext cx="1927714" cy="204019"/>
              </a:xfrm>
              <a:prstGeom prst="chevron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</p:grpSp>
        <p:sp>
          <p:nvSpPr>
            <p:cNvPr id="5" name="燕尾形 21">
              <a:extLst>
                <a:ext uri="{FF2B5EF4-FFF2-40B4-BE49-F238E27FC236}">
                  <a16:creationId xmlns:a16="http://schemas.microsoft.com/office/drawing/2014/main" id="{B674EB41-C3D8-E0B6-16F6-C2CCA1B57E53}"/>
                </a:ext>
              </a:extLst>
            </p:cNvPr>
            <p:cNvSpPr/>
            <p:nvPr/>
          </p:nvSpPr>
          <p:spPr>
            <a:xfrm>
              <a:off x="8730408" y="127188"/>
              <a:ext cx="2178490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7772400" imgH="10058400" progId="">
                  <p:embed/>
                </p:oleObj>
              </mc:Choice>
              <mc:Fallback>
                <p:oleObj name="think-cell 幻灯片" r:id="rId6" imgW="7772400" imgH="10058400" progId="">
                  <p:embed/>
                  <p:pic>
                    <p:nvPicPr>
                      <p:cNvPr id="38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3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836712"/>
            <a:ext cx="8356600" cy="300302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2. 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文献综述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67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历史融资信息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4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信智资本天使；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5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月戈壁创投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re-A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本轮为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A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轮融资，卖方要求融资金额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5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出让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5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投后估值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20M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S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打分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和小红书、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站等平台的竞争力有待确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在平台扩张以及与其他平台竞争中，内容质量维持有一定困难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酱料和速食品类变现风险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折价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购买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: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aphicFrame>
        <p:nvGraphicFramePr>
          <p:cNvPr id="2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90563" y="2341528"/>
          <a:ext cx="7560841" cy="78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050" dirty="0"/>
                        <a:t>Business (Market and Product) Attractiveness</a:t>
                      </a:r>
                      <a:endParaRPr lang="zh-CN" alt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t Potenti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agement Strength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rmalised</a:t>
                      </a:r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SM Risk Factor (β)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justed Cost of Capit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RR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fit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7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45552" y="4941009"/>
          <a:ext cx="7498856" cy="11774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9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curities to be Issued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f Preferred Stock of the Company (the “Preferred”).</a:t>
                      </a:r>
                      <a:endParaRPr lang="zh-CN" sz="1050" b="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ggregate Proceed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5,000,000_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 in aggregate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stor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redited investors approved by the Company (the “Investors”).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 (the “Original Issue Price”), based on a pre-money valuation of 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0,00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, including an available option pool of 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%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FC4DC1A2-24EE-3931-5834-4A78024C580B}"/>
              </a:ext>
            </a:extLst>
          </p:cNvPr>
          <p:cNvGrpSpPr/>
          <p:nvPr/>
        </p:nvGrpSpPr>
        <p:grpSpPr>
          <a:xfrm>
            <a:off x="395287" y="127189"/>
            <a:ext cx="8353426" cy="205468"/>
            <a:chOff x="395286" y="127188"/>
            <a:chExt cx="10513612" cy="211837"/>
          </a:xfrm>
        </p:grpSpPr>
        <p:grpSp>
          <p:nvGrpSpPr>
            <p:cNvPr id="9" name="组合 8"/>
            <p:cNvGrpSpPr/>
            <p:nvPr/>
          </p:nvGrpSpPr>
          <p:grpSpPr>
            <a:xfrm>
              <a:off x="395286" y="134107"/>
              <a:ext cx="8352938" cy="204918"/>
              <a:chOff x="395287" y="134107"/>
              <a:chExt cx="7454664" cy="204918"/>
            </a:xfrm>
          </p:grpSpPr>
          <p:sp>
            <p:nvSpPr>
              <p:cNvPr id="10" name="燕尾形 21"/>
              <p:cNvSpPr/>
              <p:nvPr/>
            </p:nvSpPr>
            <p:spPr>
              <a:xfrm>
                <a:off x="395287" y="134107"/>
                <a:ext cx="1944215" cy="204918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1" name="燕尾形 23"/>
              <p:cNvSpPr/>
              <p:nvPr/>
            </p:nvSpPr>
            <p:spPr>
              <a:xfrm>
                <a:off x="2323437" y="134107"/>
                <a:ext cx="1927714" cy="197999"/>
              </a:xfrm>
              <a:prstGeom prst="chevron">
                <a:avLst/>
              </a:prstGeom>
              <a:solidFill>
                <a:srgbClr val="72327E"/>
              </a:solidFill>
              <a:ln>
                <a:solidFill>
                  <a:srgbClr val="7232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sym typeface="Times New Roman" panose="02020603050405020304" pitchFamily="18" charset="0"/>
                  </a:rPr>
                  <a:t>文献综述</a:t>
                </a:r>
              </a:p>
            </p:txBody>
          </p:sp>
          <p:sp>
            <p:nvSpPr>
              <p:cNvPr id="12" name="燕尾形 24"/>
              <p:cNvSpPr/>
              <p:nvPr/>
            </p:nvSpPr>
            <p:spPr>
              <a:xfrm>
                <a:off x="4299618" y="134107"/>
                <a:ext cx="1606428" cy="197999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3" name="燕尾形 25"/>
              <p:cNvSpPr/>
              <p:nvPr/>
            </p:nvSpPr>
            <p:spPr>
              <a:xfrm>
                <a:off x="5922237" y="134107"/>
                <a:ext cx="1927714" cy="204019"/>
              </a:xfrm>
              <a:prstGeom prst="chevron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</p:grpSp>
        <p:sp>
          <p:nvSpPr>
            <p:cNvPr id="5" name="燕尾形 21">
              <a:extLst>
                <a:ext uri="{FF2B5EF4-FFF2-40B4-BE49-F238E27FC236}">
                  <a16:creationId xmlns:a16="http://schemas.microsoft.com/office/drawing/2014/main" id="{B674EB41-C3D8-E0B6-16F6-C2CCA1B57E53}"/>
                </a:ext>
              </a:extLst>
            </p:cNvPr>
            <p:cNvSpPr/>
            <p:nvPr/>
          </p:nvSpPr>
          <p:spPr>
            <a:xfrm>
              <a:off x="8730408" y="127188"/>
              <a:ext cx="2178490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67528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7772400" imgH="10058400" progId="">
                  <p:embed/>
                </p:oleObj>
              </mc:Choice>
              <mc:Fallback>
                <p:oleObj name="think-cell 幻灯片" r:id="rId6" imgW="7772400" imgH="10058400" progId="">
                  <p:embed/>
                  <p:pic>
                    <p:nvPicPr>
                      <p:cNvPr id="38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4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836712"/>
            <a:ext cx="8356600" cy="300302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3. 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理论分析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67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历史融资信息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4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信智资本天使；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5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月戈壁创投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re-A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本轮为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A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轮融资，卖方要求融资金额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5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出让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5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投后估值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20M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S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打分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和小红书、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站等平台的竞争力有待确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在平台扩张以及与其他平台竞争中，内容质量维持有一定困难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酱料和速食品类变现风险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折价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购买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: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aphicFrame>
        <p:nvGraphicFramePr>
          <p:cNvPr id="2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90563" y="2341528"/>
          <a:ext cx="7560841" cy="78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050" dirty="0"/>
                        <a:t>Business (Market and Product) Attractiveness</a:t>
                      </a:r>
                      <a:endParaRPr lang="zh-CN" alt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t Potenti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agement Strength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rmalised</a:t>
                      </a:r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SM Risk Factor (β)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justed Cost of Capit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RR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fit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7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45552" y="4941009"/>
          <a:ext cx="7498856" cy="11774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9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curities to be Issued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f Preferred Stock of the Company (the “Preferred”).</a:t>
                      </a:r>
                      <a:endParaRPr lang="zh-CN" sz="1050" b="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ggregate Proceed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5,000,000_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 in aggregate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stor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redited investors approved by the Company (the “Investors”).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 (the “Original Issue Price”), based on a pre-money valuation of 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0,00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, including an available option pool of 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%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FC4DC1A2-24EE-3931-5834-4A78024C580B}"/>
              </a:ext>
            </a:extLst>
          </p:cNvPr>
          <p:cNvGrpSpPr/>
          <p:nvPr/>
        </p:nvGrpSpPr>
        <p:grpSpPr>
          <a:xfrm>
            <a:off x="395287" y="127189"/>
            <a:ext cx="8353426" cy="205468"/>
            <a:chOff x="395286" y="127188"/>
            <a:chExt cx="10513612" cy="211837"/>
          </a:xfrm>
        </p:grpSpPr>
        <p:grpSp>
          <p:nvGrpSpPr>
            <p:cNvPr id="9" name="组合 8"/>
            <p:cNvGrpSpPr/>
            <p:nvPr/>
          </p:nvGrpSpPr>
          <p:grpSpPr>
            <a:xfrm>
              <a:off x="395286" y="134107"/>
              <a:ext cx="8352938" cy="204918"/>
              <a:chOff x="395287" y="134107"/>
              <a:chExt cx="7454664" cy="204918"/>
            </a:xfrm>
          </p:grpSpPr>
          <p:sp>
            <p:nvSpPr>
              <p:cNvPr id="10" name="燕尾形 21"/>
              <p:cNvSpPr/>
              <p:nvPr/>
            </p:nvSpPr>
            <p:spPr>
              <a:xfrm>
                <a:off x="395287" y="134107"/>
                <a:ext cx="1944215" cy="204918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1" name="燕尾形 23"/>
              <p:cNvSpPr/>
              <p:nvPr/>
            </p:nvSpPr>
            <p:spPr>
              <a:xfrm>
                <a:off x="2323437" y="134107"/>
                <a:ext cx="1927714" cy="197999"/>
              </a:xfrm>
              <a:prstGeom prst="chevron">
                <a:avLst/>
              </a:prstGeom>
              <a:solidFill>
                <a:srgbClr val="72327E"/>
              </a:solidFill>
              <a:ln>
                <a:solidFill>
                  <a:srgbClr val="7232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2" name="燕尾形 24"/>
              <p:cNvSpPr/>
              <p:nvPr/>
            </p:nvSpPr>
            <p:spPr>
              <a:xfrm>
                <a:off x="4299618" y="134107"/>
                <a:ext cx="1606428" cy="197999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sym typeface="Times New Roman" panose="02020603050405020304" pitchFamily="18" charset="0"/>
                  </a:rPr>
                  <a:t>理论分析</a:t>
                </a:r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3" name="燕尾形 25"/>
              <p:cNvSpPr/>
              <p:nvPr/>
            </p:nvSpPr>
            <p:spPr>
              <a:xfrm>
                <a:off x="5922237" y="134107"/>
                <a:ext cx="1927714" cy="204019"/>
              </a:xfrm>
              <a:prstGeom prst="chevron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</p:grpSp>
        <p:sp>
          <p:nvSpPr>
            <p:cNvPr id="5" name="燕尾形 21">
              <a:extLst>
                <a:ext uri="{FF2B5EF4-FFF2-40B4-BE49-F238E27FC236}">
                  <a16:creationId xmlns:a16="http://schemas.microsoft.com/office/drawing/2014/main" id="{B674EB41-C3D8-E0B6-16F6-C2CCA1B57E53}"/>
                </a:ext>
              </a:extLst>
            </p:cNvPr>
            <p:cNvSpPr/>
            <p:nvPr/>
          </p:nvSpPr>
          <p:spPr>
            <a:xfrm>
              <a:off x="8730408" y="127188"/>
              <a:ext cx="2178490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011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7772400" imgH="10058400" progId="">
                  <p:embed/>
                </p:oleObj>
              </mc:Choice>
              <mc:Fallback>
                <p:oleObj name="think-cell 幻灯片" r:id="rId6" imgW="7772400" imgH="10058400" progId="">
                  <p:embed/>
                  <p:pic>
                    <p:nvPicPr>
                      <p:cNvPr id="38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5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836712"/>
            <a:ext cx="8356600" cy="300302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4. 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实证分析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67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历史融资信息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4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信智资本天使；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5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月戈壁创投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re-A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本轮为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A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轮融资，卖方要求融资金额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5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出让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5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投后估值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20M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S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打分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和小红书、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站等平台的竞争力有待确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在平台扩张以及与其他平台竞争中，内容质量维持有一定困难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酱料和速食品类变现风险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折价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购买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: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aphicFrame>
        <p:nvGraphicFramePr>
          <p:cNvPr id="2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90563" y="2341528"/>
          <a:ext cx="7560841" cy="78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050" dirty="0"/>
                        <a:t>Business (Market and Product) Attractiveness</a:t>
                      </a:r>
                      <a:endParaRPr lang="zh-CN" alt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t Potenti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agement Strength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rmalised</a:t>
                      </a:r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SM Risk Factor (β)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justed Cost of Capit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RR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fit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7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45552" y="4941009"/>
          <a:ext cx="7498856" cy="11774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9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curities to be Issued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f Preferred Stock of the Company (the “Preferred”).</a:t>
                      </a:r>
                      <a:endParaRPr lang="zh-CN" sz="1050" b="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ggregate Proceed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5,000,000_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 in aggregate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stor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redited investors approved by the Company (the “Investors”).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 (the “Original Issue Price”), based on a pre-money valuation of 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0,00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, including an available option pool of 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%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FC4DC1A2-24EE-3931-5834-4A78024C580B}"/>
              </a:ext>
            </a:extLst>
          </p:cNvPr>
          <p:cNvGrpSpPr/>
          <p:nvPr/>
        </p:nvGrpSpPr>
        <p:grpSpPr>
          <a:xfrm>
            <a:off x="395287" y="127189"/>
            <a:ext cx="8353426" cy="205468"/>
            <a:chOff x="395286" y="127188"/>
            <a:chExt cx="10513612" cy="211837"/>
          </a:xfrm>
        </p:grpSpPr>
        <p:grpSp>
          <p:nvGrpSpPr>
            <p:cNvPr id="9" name="组合 8"/>
            <p:cNvGrpSpPr/>
            <p:nvPr/>
          </p:nvGrpSpPr>
          <p:grpSpPr>
            <a:xfrm>
              <a:off x="395286" y="134107"/>
              <a:ext cx="8352938" cy="204918"/>
              <a:chOff x="395287" y="134107"/>
              <a:chExt cx="7454664" cy="204918"/>
            </a:xfrm>
          </p:grpSpPr>
          <p:sp>
            <p:nvSpPr>
              <p:cNvPr id="10" name="燕尾形 21"/>
              <p:cNvSpPr/>
              <p:nvPr/>
            </p:nvSpPr>
            <p:spPr>
              <a:xfrm>
                <a:off x="395287" y="134107"/>
                <a:ext cx="1944215" cy="204918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1" name="燕尾形 23"/>
              <p:cNvSpPr/>
              <p:nvPr/>
            </p:nvSpPr>
            <p:spPr>
              <a:xfrm>
                <a:off x="2323437" y="134107"/>
                <a:ext cx="1927714" cy="197999"/>
              </a:xfrm>
              <a:prstGeom prst="chevron">
                <a:avLst/>
              </a:prstGeom>
              <a:solidFill>
                <a:srgbClr val="72327E"/>
              </a:solidFill>
              <a:ln>
                <a:solidFill>
                  <a:srgbClr val="7232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2" name="燕尾形 24"/>
              <p:cNvSpPr/>
              <p:nvPr/>
            </p:nvSpPr>
            <p:spPr>
              <a:xfrm>
                <a:off x="4299618" y="134107"/>
                <a:ext cx="1606428" cy="197999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3" name="燕尾形 25"/>
              <p:cNvSpPr/>
              <p:nvPr/>
            </p:nvSpPr>
            <p:spPr>
              <a:xfrm>
                <a:off x="5922237" y="134107"/>
                <a:ext cx="1927714" cy="204019"/>
              </a:xfrm>
              <a:prstGeom prst="chevron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200" b="1" dirty="0">
                    <a:solidFill>
                      <a:schemeClr val="bg1"/>
                    </a:solidFill>
                    <a:latin typeface="Times New Roman" panose="02020603050405020304" pitchFamily="18" charset="0"/>
                    <a:ea typeface="宋体" panose="02010600030101010101" pitchFamily="2" charset="-122"/>
                    <a:sym typeface="Times New Roman" panose="02020603050405020304" pitchFamily="18" charset="0"/>
                  </a:rPr>
                  <a:t>实证分析</a:t>
                </a:r>
                <a:endParaRPr lang="en-US" altLang="zh-CN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</p:grpSp>
        <p:sp>
          <p:nvSpPr>
            <p:cNvPr id="5" name="燕尾形 21">
              <a:extLst>
                <a:ext uri="{FF2B5EF4-FFF2-40B4-BE49-F238E27FC236}">
                  <a16:creationId xmlns:a16="http://schemas.microsoft.com/office/drawing/2014/main" id="{B674EB41-C3D8-E0B6-16F6-C2CCA1B57E53}"/>
                </a:ext>
              </a:extLst>
            </p:cNvPr>
            <p:cNvSpPr/>
            <p:nvPr/>
          </p:nvSpPr>
          <p:spPr>
            <a:xfrm>
              <a:off x="8730408" y="127188"/>
              <a:ext cx="2178490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648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6" imgW="7772400" imgH="10058400" progId="">
                  <p:embed/>
                </p:oleObj>
              </mc:Choice>
              <mc:Fallback>
                <p:oleObj name="think-cell 幻灯片" r:id="rId6" imgW="7772400" imgH="10058400" progId="">
                  <p:embed/>
                  <p:pic>
                    <p:nvPicPr>
                      <p:cNvPr id="38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6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836712"/>
            <a:ext cx="8356600" cy="300302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5. 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结论与展望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677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历史融资信息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4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信智资本天使；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5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月戈壁创投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re-A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本轮为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A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轮融资，卖方要求融资金额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5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出让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5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，投后估值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$20M</a:t>
            </a: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PSM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打分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lvl="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和小红书、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站等平台的竞争力有待确定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在平台扩张以及与其他平台竞争中，内容质量维持有一定困难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lvl="0">
              <a:lnSpc>
                <a:spcPct val="120000"/>
              </a:lnSpc>
              <a:buClr>
                <a:srgbClr val="72327E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酱料和速食品类变现风险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折价</a:t>
            </a: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%</a:t>
            </a:r>
            <a:r>
              <a:rPr lang="zh-CN" altLang="en-US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购买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:</a:t>
            </a: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aphicFrame>
        <p:nvGraphicFramePr>
          <p:cNvPr id="2" name="表格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90563" y="2341528"/>
          <a:ext cx="7560841" cy="78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60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050" dirty="0"/>
                        <a:t>Business (Market and Product) Attractiveness</a:t>
                      </a:r>
                      <a:endParaRPr lang="zh-CN" alt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t Potenti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agement Strength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rmalised</a:t>
                      </a:r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PSM Risk Factor (β)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justed Cost of Capital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RR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fit</a:t>
                      </a:r>
                      <a:endParaRPr lang="zh-CN" altLang="en-US" sz="105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7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8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45552" y="4941009"/>
          <a:ext cx="7498856" cy="11774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29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curities to be Issued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s of Preferred Stock of the Company (the “Preferred”).</a:t>
                      </a:r>
                      <a:endParaRPr lang="zh-CN" sz="1050" b="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ggregate Proceed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5,000,000_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 in aggregate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estors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redited investors approved by the Company (the “Investors”).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: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ice per share (the “Original Issue Price”), based on a pre-money valuation of $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0,00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, including an available option pool of [_</a:t>
                      </a:r>
                      <a:r>
                        <a:rPr lang="en-US" sz="1100" b="1" u="sng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_]%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FC4DC1A2-24EE-3931-5834-4A78024C580B}"/>
              </a:ext>
            </a:extLst>
          </p:cNvPr>
          <p:cNvGrpSpPr/>
          <p:nvPr/>
        </p:nvGrpSpPr>
        <p:grpSpPr>
          <a:xfrm>
            <a:off x="395287" y="127189"/>
            <a:ext cx="8353426" cy="205468"/>
            <a:chOff x="395286" y="127188"/>
            <a:chExt cx="10513612" cy="211837"/>
          </a:xfrm>
        </p:grpSpPr>
        <p:grpSp>
          <p:nvGrpSpPr>
            <p:cNvPr id="9" name="组合 8"/>
            <p:cNvGrpSpPr/>
            <p:nvPr/>
          </p:nvGrpSpPr>
          <p:grpSpPr>
            <a:xfrm>
              <a:off x="395286" y="134107"/>
              <a:ext cx="8352938" cy="204918"/>
              <a:chOff x="395287" y="134107"/>
              <a:chExt cx="7454664" cy="204918"/>
            </a:xfrm>
          </p:grpSpPr>
          <p:sp>
            <p:nvSpPr>
              <p:cNvPr id="10" name="燕尾形 21"/>
              <p:cNvSpPr/>
              <p:nvPr/>
            </p:nvSpPr>
            <p:spPr>
              <a:xfrm>
                <a:off x="395287" y="134107"/>
                <a:ext cx="1944215" cy="204918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1" name="燕尾形 23"/>
              <p:cNvSpPr/>
              <p:nvPr/>
            </p:nvSpPr>
            <p:spPr>
              <a:xfrm>
                <a:off x="2323437" y="134107"/>
                <a:ext cx="1927714" cy="197999"/>
              </a:xfrm>
              <a:prstGeom prst="chevron">
                <a:avLst/>
              </a:prstGeom>
              <a:solidFill>
                <a:srgbClr val="72327E"/>
              </a:solidFill>
              <a:ln>
                <a:solidFill>
                  <a:srgbClr val="7232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2" name="燕尾形 24"/>
              <p:cNvSpPr/>
              <p:nvPr/>
            </p:nvSpPr>
            <p:spPr>
              <a:xfrm>
                <a:off x="4299618" y="134107"/>
                <a:ext cx="1606428" cy="197999"/>
              </a:xfrm>
              <a:prstGeom prst="chevron">
                <a:avLst/>
              </a:prstGeom>
              <a:solidFill>
                <a:srgbClr val="EBE8EC"/>
              </a:solidFill>
              <a:ln>
                <a:solidFill>
                  <a:srgbClr val="EBE8E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  <p:sp>
            <p:nvSpPr>
              <p:cNvPr id="13" name="燕尾形 25"/>
              <p:cNvSpPr/>
              <p:nvPr/>
            </p:nvSpPr>
            <p:spPr>
              <a:xfrm>
                <a:off x="5922237" y="134107"/>
                <a:ext cx="1927714" cy="204019"/>
              </a:xfrm>
              <a:prstGeom prst="chevron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2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endParaRPr>
              </a:p>
            </p:txBody>
          </p:sp>
        </p:grpSp>
        <p:sp>
          <p:nvSpPr>
            <p:cNvPr id="5" name="燕尾形 21">
              <a:extLst>
                <a:ext uri="{FF2B5EF4-FFF2-40B4-BE49-F238E27FC236}">
                  <a16:creationId xmlns:a16="http://schemas.microsoft.com/office/drawing/2014/main" id="{B674EB41-C3D8-E0B6-16F6-C2CCA1B57E53}"/>
                </a:ext>
              </a:extLst>
            </p:cNvPr>
            <p:cNvSpPr/>
            <p:nvPr/>
          </p:nvSpPr>
          <p:spPr>
            <a:xfrm>
              <a:off x="8730408" y="127188"/>
              <a:ext cx="2178490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结论与展望</a:t>
              </a:r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0977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7772400" imgH="10058400" progId="">
                  <p:embed/>
                </p:oleObj>
              </mc:Choice>
              <mc:Fallback>
                <p:oleObj name="think-cell 幻灯片" r:id="rId5" imgW="7772400" imgH="10058400" progId="">
                  <p:embed/>
                  <p:pic>
                    <p:nvPicPr>
                      <p:cNvPr id="0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7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559469"/>
            <a:ext cx="8356600" cy="577545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2.Day Day Cook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 重要谈判点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– 2016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A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轮 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US $5M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endParaRPr lang="zh-CN" altLang="en-US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13624" y="1484784"/>
            <a:ext cx="8424696" cy="3418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Term Sheet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、两名董事由持有多数普通股的股东选举产生。三名董事由持有多数优先股的股东选举产生。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、如果该公司未能在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23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前上市，管理团队应以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000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万美元的估值回购这些股份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Key Point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：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1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、我们要求在此轮融资至少列席一个董事会席位，并拥有一票否决权。同时要求至少两名人员进入高管层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、对赌协议要求以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倍投资额的价格回购相应股份，也可以协商成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IRR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。</a:t>
            </a: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395286" y="134107"/>
            <a:ext cx="8352938" cy="204918"/>
            <a:chOff x="395287" y="134107"/>
            <a:chExt cx="7454664" cy="204918"/>
          </a:xfrm>
        </p:grpSpPr>
        <p:sp>
          <p:nvSpPr>
            <p:cNvPr id="10" name="燕尾形 21"/>
            <p:cNvSpPr/>
            <p:nvPr/>
          </p:nvSpPr>
          <p:spPr>
            <a:xfrm>
              <a:off x="395287" y="134107"/>
              <a:ext cx="1944215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 </a:t>
              </a:r>
              <a:r>
                <a:rPr lang="en-US" altLang="zh-CN" sz="1200" b="1" dirty="0" err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</a:t>
              </a:r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 Cook</a:t>
              </a:r>
            </a:p>
          </p:txBody>
        </p:sp>
        <p:sp>
          <p:nvSpPr>
            <p:cNvPr id="11" name="燕尾形 23"/>
            <p:cNvSpPr/>
            <p:nvPr/>
          </p:nvSpPr>
          <p:spPr>
            <a:xfrm>
              <a:off x="2323437" y="134107"/>
              <a:ext cx="1927714" cy="197999"/>
            </a:xfrm>
            <a:prstGeom prst="chevron">
              <a:avLst/>
            </a:prstGeom>
            <a:solidFill>
              <a:srgbClr val="72327E"/>
            </a:solidFill>
            <a:ln>
              <a:solidFill>
                <a:srgbClr val="7232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燕尾形 24"/>
            <p:cNvSpPr/>
            <p:nvPr/>
          </p:nvSpPr>
          <p:spPr>
            <a:xfrm>
              <a:off x="4299618" y="134107"/>
              <a:ext cx="1606428" cy="197999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3" name="燕尾形 25"/>
            <p:cNvSpPr/>
            <p:nvPr/>
          </p:nvSpPr>
          <p:spPr>
            <a:xfrm>
              <a:off x="5922237" y="134107"/>
              <a:ext cx="1927714" cy="204019"/>
            </a:xfrm>
            <a:prstGeom prst="chevron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04405D04-E0DC-41B2-B40C-0C1C5562851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74141"/>
              </p:ext>
            </p:extLst>
          </p:nvPr>
        </p:nvGraphicFramePr>
        <p:xfrm>
          <a:off x="745552" y="4940374"/>
          <a:ext cx="7498856" cy="12056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4520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endParaRPr lang="en-US" sz="1100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oard of Directors: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endParaRPr lang="en-US" sz="1100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800"/>
                        </a:spcAft>
                      </a:pP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wo directors elected by holders of a majority of common stock. </a:t>
                      </a: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Three</a:t>
                      </a: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irector</a:t>
                      </a: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</a:t>
                      </a:r>
                      <a:r>
                        <a:rPr lang="en-US" sz="11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lected by holders of a majority of Preferred.</a:t>
                      </a: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endParaRPr lang="zh-CN" sz="105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800"/>
                        </a:spcAft>
                      </a:pP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algn="l">
                        <a:spcAft>
                          <a:spcPts val="800"/>
                        </a:spcAft>
                      </a:pPr>
                      <a:r>
                        <a:rPr lang="en-US" sz="1100" ker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Valuation Adjustment Mechanism</a:t>
                      </a:r>
                      <a:endParaRPr lang="zh-CN" sz="1050" kern="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The management team should buy back the shares at a valuation of $10Mn if company failed to list before 2023.</a:t>
                      </a:r>
                      <a:endParaRPr lang="zh-CN" sz="105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7772400" imgH="10058400" progId="">
                  <p:embed/>
                </p:oleObj>
              </mc:Choice>
              <mc:Fallback>
                <p:oleObj name="think-cell 幻灯片" r:id="rId5" imgW="7772400" imgH="10058400" progId="">
                  <p:embed/>
                  <p:pic>
                    <p:nvPicPr>
                      <p:cNvPr id="38" name="对象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5C660CE-E1C1-4C68-A232-1E6B7D740678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sym typeface="Times New Roman" panose="02020603050405020304" pitchFamily="18" charset="0"/>
              </a:rPr>
              <a:t>8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4" name="标题 6"/>
          <p:cNvSpPr>
            <a:spLocks noGrp="1"/>
          </p:cNvSpPr>
          <p:nvPr>
            <p:ph type="title"/>
          </p:nvPr>
        </p:nvSpPr>
        <p:spPr bwMode="gray">
          <a:xfrm>
            <a:off x="395288" y="559469"/>
            <a:ext cx="8356600" cy="577545"/>
          </a:xfrm>
        </p:spPr>
        <p:txBody>
          <a:bodyPr/>
          <a:lstStyle/>
          <a:p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3. Day </a:t>
            </a:r>
            <a:r>
              <a:rPr lang="en-US" altLang="zh-CN" dirty="0" err="1">
                <a:latin typeface="Times New Roman" panose="02020603050405020304" pitchFamily="18" charset="0"/>
                <a:sym typeface="Times New Roman" panose="02020603050405020304" pitchFamily="18" charset="0"/>
              </a:rPr>
              <a:t>Day</a:t>
            </a:r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 Cook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可以协商但必须列在</a:t>
            </a:r>
            <a: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  <a:t>Term Sheet</a:t>
            </a:r>
            <a:r>
              <a:rPr lang="zh-CN" altLang="en-US" dirty="0">
                <a:latin typeface="Times New Roman" panose="02020603050405020304" pitchFamily="18" charset="0"/>
                <a:sym typeface="Times New Roman" panose="02020603050405020304" pitchFamily="18" charset="0"/>
              </a:rPr>
              <a:t>中的条款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– 2016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A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轮 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US $5M</a:t>
            </a:r>
            <a:br>
              <a:rPr lang="en-US" altLang="zh-CN" dirty="0">
                <a:latin typeface="Times New Roman" panose="02020603050405020304" pitchFamily="18" charset="0"/>
                <a:sym typeface="Times New Roman" panose="02020603050405020304" pitchFamily="18" charset="0"/>
              </a:rPr>
            </a:br>
            <a:endParaRPr lang="zh-CN" altLang="en-US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313624" y="1268760"/>
            <a:ext cx="8424696" cy="3418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风险：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公司核心成员过早离开，影响公司可持续经营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投资者股份被稀释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投资者可能需要缴纳律师费用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诉求：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每位创始人自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2016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年起拥有四年的股权。每位创始人应在交易结束前将所有相关知识产权转让给本公司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如果本公司发行或出售任何股权，投资者有权购买额外数量的股权，以保持其在本公司的百分比所有权权益。</a:t>
            </a:r>
            <a:endParaRPr lang="en-US" altLang="zh-CN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buClr>
                <a:srgbClr val="72327E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公司应按结算金额的</a:t>
            </a:r>
            <a:r>
              <a:rPr lang="en-US" altLang="zh-CN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7.5%</a:t>
            </a:r>
            <a:r>
              <a:rPr lang="zh-CN" altLang="en-US" sz="1400" b="1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  <a:sym typeface="Times New Roman" panose="02020603050405020304" pitchFamily="18" charset="0"/>
              </a:rPr>
              <a:t>向投资者偿付律师费用。</a:t>
            </a:r>
          </a:p>
          <a:p>
            <a:pPr>
              <a:lnSpc>
                <a:spcPct val="120000"/>
              </a:lnSpc>
              <a:buClr>
                <a:srgbClr val="72327E"/>
              </a:buClr>
              <a:defRPr/>
            </a:pPr>
            <a:endParaRPr lang="zh-CN" altLang="en-US" sz="1400" b="1" dirty="0">
              <a:solidFill>
                <a:srgbClr val="000000"/>
              </a:solidFill>
              <a:latin typeface="楷体" panose="02010609060101010101" pitchFamily="49" charset="-122"/>
              <a:ea typeface="楷体" panose="02010609060101010101" pitchFamily="49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395286" y="134107"/>
            <a:ext cx="8352938" cy="204918"/>
            <a:chOff x="395287" y="134107"/>
            <a:chExt cx="7454664" cy="204918"/>
          </a:xfrm>
        </p:grpSpPr>
        <p:sp>
          <p:nvSpPr>
            <p:cNvPr id="10" name="燕尾形 21"/>
            <p:cNvSpPr/>
            <p:nvPr/>
          </p:nvSpPr>
          <p:spPr>
            <a:xfrm>
              <a:off x="395287" y="134107"/>
              <a:ext cx="1944215" cy="204918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 </a:t>
              </a:r>
              <a:r>
                <a:rPr lang="en-US" altLang="zh-CN" sz="1200" b="1" dirty="0" err="1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Day</a:t>
              </a:r>
              <a:r>
                <a:rPr lang="en-US" altLang="zh-CN" sz="1200" b="1" dirty="0">
                  <a:solidFill>
                    <a:schemeClr val="tx1"/>
                  </a:solidFill>
                  <a:latin typeface="Times New Roman" panose="02020603050405020304" pitchFamily="18" charset="0"/>
                  <a:ea typeface="宋体" panose="02010600030101010101" pitchFamily="2" charset="-122"/>
                  <a:sym typeface="Times New Roman" panose="02020603050405020304" pitchFamily="18" charset="0"/>
                </a:rPr>
                <a:t> Cook</a:t>
              </a:r>
            </a:p>
          </p:txBody>
        </p:sp>
        <p:sp>
          <p:nvSpPr>
            <p:cNvPr id="11" name="燕尾形 23"/>
            <p:cNvSpPr/>
            <p:nvPr/>
          </p:nvSpPr>
          <p:spPr>
            <a:xfrm>
              <a:off x="2323437" y="134107"/>
              <a:ext cx="1927714" cy="197999"/>
            </a:xfrm>
            <a:prstGeom prst="chevron">
              <a:avLst/>
            </a:prstGeom>
            <a:solidFill>
              <a:srgbClr val="72327E"/>
            </a:solidFill>
            <a:ln>
              <a:solidFill>
                <a:srgbClr val="7232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2" name="燕尾形 24"/>
            <p:cNvSpPr/>
            <p:nvPr/>
          </p:nvSpPr>
          <p:spPr>
            <a:xfrm>
              <a:off x="4299618" y="134107"/>
              <a:ext cx="1606428" cy="197999"/>
            </a:xfrm>
            <a:prstGeom prst="chevron">
              <a:avLst/>
            </a:prstGeom>
            <a:solidFill>
              <a:srgbClr val="EBE8EC"/>
            </a:solidFill>
            <a:ln>
              <a:solidFill>
                <a:srgbClr val="EB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13" name="燕尾形 25"/>
            <p:cNvSpPr/>
            <p:nvPr/>
          </p:nvSpPr>
          <p:spPr>
            <a:xfrm>
              <a:off x="5922237" y="134107"/>
              <a:ext cx="1927714" cy="204019"/>
            </a:xfrm>
            <a:prstGeom prst="chevron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200" b="1" dirty="0">
                <a:solidFill>
                  <a:schemeClr val="bg1"/>
                </a:solidFill>
                <a:latin typeface="Times New Roman" panose="02020603050405020304" pitchFamily="18" charset="0"/>
                <a:ea typeface="宋体" panose="02010600030101010101" pitchFamily="2" charset="-122"/>
                <a:sym typeface="Times New Roman" panose="02020603050405020304" pitchFamily="18" charset="0"/>
              </a:endParaRPr>
            </a:p>
          </p:txBody>
        </p:sp>
      </p:grp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3603E85A-820C-4A88-B094-01C95E8606A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729623"/>
              </p:ext>
            </p:extLst>
          </p:nvPr>
        </p:nvGraphicFramePr>
        <p:xfrm>
          <a:off x="822572" y="4869160"/>
          <a:ext cx="7498856" cy="1367334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2502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67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under Matters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endParaRPr lang="en-US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ach founder shall have four years vesting beginning in 2016. Full acceleration upon “Double Trigger.” Each Founder shall have assigned all relevant IP to the Company prior to closing.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7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e-emptive Rights</a:t>
                      </a:r>
                      <a:endParaRPr lang="en-US" altLang="zh-CN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endParaRPr lang="zh-CN" altLang="en-US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f the Company shall issue or sell any equity, the Investors shall have a right to purchase an additional amount of equity such that the Investors maintain their percentage ownership interest in the Company. </a:t>
                      </a:r>
                      <a:endParaRPr lang="zh-CN" altLang="en-US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35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penses:</a:t>
                      </a:r>
                      <a:endParaRPr lang="zh-CN" altLang="en-US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800"/>
                        </a:spcAft>
                      </a:pPr>
                      <a:r>
                        <a:rPr 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ny to reimburse counsel to investors for a flat fee of  7.5% base on the settlement amount.</a:t>
                      </a:r>
                      <a:endParaRPr lang="zh-CN" altLang="en-US" sz="1100" b="1" kern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9888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785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j3CVxZkOUm8twI9OJ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9whBBPlE.Tr1IihquH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Ju6saub06ZW9b0p4G0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SCFtDYUku47GFPqXnU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q9.3R8YUCAvTMcGZrT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zC1zp0ZkWsoj2fswZ4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bT.DARbEaIT5z0XYHD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f_TKM.RUu7kEQ6r_G8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_.Bb1w0uNlqMmzukY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yUjFlJ_kOlAJWm5A6E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oTprpXYUuNFzMqPyJm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W0IyM1HEKJ4zAI1eMi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066zgtKUqBQdVeOvW7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G4NOXjzkGtVkYjhebp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0djcY6P0q_pCjnTdnQ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6M.CVqyEmXNgejACk1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Iw0wLTsEGJuYYQ3EpT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kiUKnIrkmrkxHIinxw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DNlJ0L30KxRgrA6SLJ4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HPubaDEkmLfBW6ccl_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8BfYPRd0.rNL6PRlYo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JaD59HakmNVq7Ekjh3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4H0ZBpt0KL1A.G92GD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0L24RuoUSNIwWNUcyk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YP6mMufkGVGukiTyxw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6ty_LIi0eY60700s4D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sO4gyDKkWGHrS9_6PN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ABOo80okuOnNBZUTlp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4578;#374578;#374578;#118767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cf55256-d105-48e5-9d6f-33288fa12b78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878d455-2404-4b3a-a5fe-2c43b92f5301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cf55256-d105-48e5-9d6f-33288fa12b78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lLCavMpUqL372G.lCh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878d455-2404-4b3a-a5fe-2c43b92f5301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cf55256-d105-48e5-9d6f-33288fa12b78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878d455-2404-4b3a-a5fe-2c43b92f5301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cf55256-d105-48e5-9d6f-33288fa12b78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878d455-2404-4b3a-a5fe-2c43b92f5301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cf55256-d105-48e5-9d6f-33288fa12b78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878d455-2404-4b3a-a5fe-2c43b92f530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UyF44_Ok.TLy8uUl1M8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45c1a426-2698-4534-b7a2-b6aadb5f8e47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45c1a426-2698-4534-b7a2-b6aadb5f8e47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PfxFp7W02PHHPI2_Rx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ez_CAVzk2jMzmN9VqS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8zWNqiJUuUNrLB4UjPlg"/>
</p:tagLst>
</file>

<file path=ppt/theme/theme1.xml><?xml version="1.0" encoding="utf-8"?>
<a:theme xmlns:a="http://schemas.openxmlformats.org/drawingml/2006/main" name="1.2_PPT_通用模板_基本">
  <a:themeElements>
    <a:clrScheme name="自定义 2 1">
      <a:dk1>
        <a:srgbClr val="000000"/>
      </a:dk1>
      <a:lt1>
        <a:srgbClr val="FFFFFF"/>
      </a:lt1>
      <a:dk2>
        <a:srgbClr val="743480"/>
      </a:dk2>
      <a:lt2>
        <a:srgbClr val="EAE5EB"/>
      </a:lt2>
      <a:accent1>
        <a:srgbClr val="72327E"/>
      </a:accent1>
      <a:accent2>
        <a:srgbClr val="E6CFEB"/>
      </a:accent2>
      <a:accent3>
        <a:srgbClr val="733480"/>
      </a:accent3>
      <a:accent4>
        <a:srgbClr val="44556A"/>
      </a:accent4>
      <a:accent5>
        <a:srgbClr val="A3A5A3"/>
      </a:accent5>
      <a:accent6>
        <a:srgbClr val="5982DB"/>
      </a:accent6>
      <a:hlink>
        <a:srgbClr val="0066FF"/>
      </a:hlink>
      <a:folHlink>
        <a:srgbClr val="666699"/>
      </a:folHlink>
    </a:clrScheme>
    <a:fontScheme name="社保1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noFill/>
        <a:ln w="12700">
          <a:solidFill>
            <a:schemeClr val="tx1"/>
          </a:solidFill>
          <a:miter lim="800000"/>
        </a:ln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.2_PPT_通用模板_基本</Template>
  <TotalTime>3344</TotalTime>
  <Words>1707</Words>
  <Application>Microsoft Office PowerPoint</Application>
  <PresentationFormat>全屏显示(4:3)</PresentationFormat>
  <Paragraphs>273</Paragraphs>
  <Slides>11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楷体</vt:lpstr>
      <vt:lpstr>Arial</vt:lpstr>
      <vt:lpstr>Calibri</vt:lpstr>
      <vt:lpstr>Symbol</vt:lpstr>
      <vt:lpstr>Times New Roman</vt:lpstr>
      <vt:lpstr>Wingdings</vt:lpstr>
      <vt:lpstr>1.2_PPT_通用模板_基本</vt:lpstr>
      <vt:lpstr>think-cell 幻灯片</vt:lpstr>
      <vt:lpstr>做市商对市场效率的影响 -基于创业板、科创板和新三板的数据</vt:lpstr>
      <vt:lpstr>PowerPoint 演示文稿</vt:lpstr>
      <vt:lpstr>1.研究背景</vt:lpstr>
      <vt:lpstr>2. 文献综述</vt:lpstr>
      <vt:lpstr>3. 理论分析</vt:lpstr>
      <vt:lpstr>4. 实证分析</vt:lpstr>
      <vt:lpstr>5. 结论与展望</vt:lpstr>
      <vt:lpstr>2.Day Day Cook 重要谈判点 – 2016年A轮 US $5M </vt:lpstr>
      <vt:lpstr>3. Day Day Cook可以协商但必须列在Term Sheet中的条款 – 2016年A轮 US $5M </vt:lpstr>
      <vt:lpstr>4.Day Day Cook ——Some other terms to be negotiated – 2016年A轮 US $5M 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标题：粗体、50磅]</dc:title>
  <dc:creator>wangruiqi</dc:creator>
  <cp:lastModifiedBy>何 婧</cp:lastModifiedBy>
  <cp:revision>302</cp:revision>
  <dcterms:created xsi:type="dcterms:W3CDTF">2016-03-09T13:54:00Z</dcterms:created>
  <dcterms:modified xsi:type="dcterms:W3CDTF">2023-01-15T14:4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70D46B085714C95887B1BD8492A2779</vt:lpwstr>
  </property>
  <property fmtid="{D5CDD505-2E9C-101B-9397-08002B2CF9AE}" pid="3" name="KSOProductBuildVer">
    <vt:lpwstr>2052-11.1.0.11365</vt:lpwstr>
  </property>
</Properties>
</file>